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6"/>
  </p:notesMasterIdLst>
  <p:handoutMasterIdLst>
    <p:handoutMasterId r:id="rId17"/>
  </p:handoutMasterIdLst>
  <p:sldIdLst>
    <p:sldId id="256" r:id="rId5"/>
    <p:sldId id="2147376554" r:id="rId6"/>
    <p:sldId id="2147376542" r:id="rId7"/>
    <p:sldId id="2147376550" r:id="rId8"/>
    <p:sldId id="2147376551" r:id="rId9"/>
    <p:sldId id="2147376545" r:id="rId10"/>
    <p:sldId id="257" r:id="rId11"/>
    <p:sldId id="2147376546" r:id="rId12"/>
    <p:sldId id="2147376547" r:id="rId13"/>
    <p:sldId id="2147376553" r:id="rId14"/>
    <p:sldId id="2147376549" r:id="rId1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624AF1-6FB0-400A-B04C-D8AFD0F712AC}" v="6" dt="2025-05-12T15:09:51.1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61" d="100"/>
          <a:sy n="61" d="100"/>
        </p:scale>
        <p:origin x="56" y="30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3.svg"/><Relationship Id="rId5" Type="http://schemas.openxmlformats.org/officeDocument/2006/relationships/tags" Target="../tags/tag22.xml"/><Relationship Id="rId10" Type="http://schemas.openxmlformats.org/officeDocument/2006/relationships/image" Target="../media/image42.png"/><Relationship Id="rId4" Type="http://schemas.openxmlformats.org/officeDocument/2006/relationships/tags" Target="../tags/tag21.xml"/><Relationship Id="rId9" Type="http://schemas.openxmlformats.org/officeDocument/2006/relationships/image" Target="../media/image41.svg"/><Relationship Id="rId14" Type="http://schemas.openxmlformats.org/officeDocument/2006/relationships/hyperlink" Target="https://www.royalmailwholesale.com/testing-and-innovation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SALES PROMOTION 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for sales promo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a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E4241-7114-C396-7A35-A6C41FA01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5567877" cy="475686"/>
          </a:xfrm>
        </p:spPr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88D5E-F56F-8B97-C73B-6B8D60B2E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BC71C1-2743-8A35-E58F-8612E2F3F0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5671456" cy="4476750"/>
          </a:xfrm>
        </p:spPr>
        <p:txBody>
          <a:bodyPr/>
          <a:lstStyle/>
          <a:p>
            <a:pPr marL="0" indent="0">
              <a:buNone/>
            </a:pPr>
            <a:r>
              <a:rPr lang="en-GB" sz="2800" dirty="0"/>
              <a:t>The primary purpose of the mailing campaign must be related to Winter and New Year sales promo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687494-9845-CDC4-5440-1078CDB9F7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5CBB0-0150-F1AF-396F-8C2F15D2D8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8125" y="-1134999"/>
            <a:ext cx="6085332" cy="912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83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promoting Sa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GB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incremental 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C7F2889A-C812-4C3B-055E-E68077FA9FEF}"/>
              </a:ext>
            </a:extLst>
          </p:cNvPr>
          <p:cNvSpPr txBox="1">
            <a:spLocks/>
          </p:cNvSpPr>
          <p:nvPr/>
        </p:nvSpPr>
        <p:spPr>
          <a:xfrm>
            <a:off x="800948" y="6559642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* Letters or 50k Catalogues. The maximum volume is 1m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DDC5EE0-7777-4EB7-9281-D00CFB628E94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801688" y="6372225"/>
            <a:ext cx="5208587" cy="133350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262919" y="3448855"/>
            <a:ext cx="14770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1 Novem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601042" y="3448855"/>
            <a:ext cx="1214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6 January</a:t>
            </a:r>
          </a:p>
          <a:p>
            <a:pPr algn="ctr"/>
            <a:r>
              <a:rPr lang="en-GB" b="1" dirty="0"/>
              <a:t>202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4445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4445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867456" y="3448855"/>
            <a:ext cx="12148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0 January</a:t>
            </a:r>
          </a:p>
          <a:p>
            <a:pPr algn="ctr"/>
            <a:r>
              <a:rPr lang="en-GB" b="1" dirty="0"/>
              <a:t>2026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95084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84055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152247" y="3429997"/>
            <a:ext cx="12452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3 October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30</a:t>
            </a:r>
            <a:r>
              <a:rPr lang="en-GB" baseline="30000" dirty="0"/>
              <a:t>th</a:t>
            </a:r>
            <a:r>
              <a:rPr lang="en-GB" dirty="0"/>
              <a:t> January 20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9</Words>
  <Application>Microsoft Office PowerPoint</Application>
  <PresentationFormat>Widescreen</PresentationFormat>
  <Paragraphs>98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entury Gothic</vt:lpstr>
      <vt:lpstr>Impact</vt:lpstr>
      <vt:lpstr>Wingdings</vt:lpstr>
      <vt:lpstr>Office Theme</vt:lpstr>
      <vt:lpstr>ROYAL MAIL SALES PROMOTION  INCENTIVE</vt:lpstr>
      <vt:lpstr>Incentive Content guidance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5-12T15:1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